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19" r:id="rId18"/>
  </p:sldMasterIdLst>
  <p:notesMasterIdLst>
    <p:notesMasterId r:id="rId20"/>
  </p:notesMasterIdLst>
  <p:handoutMasterIdLst>
    <p:handoutMasterId r:id="rId21"/>
  </p:handoutMasterIdLst>
  <p:sldIdLst>
    <p:sldId id="460" r:id="rId19"/>
  </p:sldIdLst>
  <p:sldSz cx="12192000" cy="6858000"/>
  <p:notesSz cx="6858000" cy="9144000"/>
  <p:embeddedFontLst>
    <p:embeddedFont>
      <p:font typeface="Adelle BS Office" panose="02000503060000020004" pitchFamily="2" charset="0"/>
      <p:regular r:id="rId22"/>
      <p:bold r:id="rId23"/>
      <p:italic r:id="rId24"/>
      <p:boldItalic r:id="rId25"/>
    </p:embeddedFont>
    <p:embeddedFont>
      <p:font typeface="Verdana" panose="020B0604030504040204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9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551" autoAdjust="0"/>
  </p:normalViewPr>
  <p:slideViewPr>
    <p:cSldViewPr snapToGrid="0" showGuides="1">
      <p:cViewPr varScale="1">
        <p:scale>
          <a:sx n="67" d="100"/>
          <a:sy n="67" d="100"/>
        </p:scale>
        <p:origin x="57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98" d="100"/>
          <a:sy n="98" d="100"/>
        </p:scale>
        <p:origin x="8502" y="12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font" Target="fonts/font4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3.fntdata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presProps" Target="presProps.xml"/><Relationship Id="rId8" Type="http://schemas.openxmlformats.org/officeDocument/2006/relationships/customXml" Target="../customXml/item8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97BA6A18-F6EC-4FC6-A1F2-53D7B174BA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8240" y="8752305"/>
            <a:ext cx="16225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pc="100" smtClean="0"/>
              <a:t>13 July 2026</a:t>
            </a:fld>
            <a:endParaRPr lang="en-GB" sz="800" spc="100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1C916CD9-6F87-4BA2-B4B1-3D825F52F69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8240" y="8570490"/>
            <a:ext cx="16225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pc="100" smtClean="0"/>
              <a:pPr/>
              <a:t>‹#›</a:t>
            </a:fld>
            <a:endParaRPr lang="en-GB" sz="800" spc="100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ECE9950B-2F43-4CEE-B045-D9A6F17F2C1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67212" y="8752305"/>
            <a:ext cx="4287692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spc="100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B7228F31-E4D0-4B9C-B286-6098DC5DFF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67212" y="8570490"/>
            <a:ext cx="4287692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spc="100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45C5DA06-1206-4633-848F-F48696920389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526788" y="8283534"/>
            <a:ext cx="864000" cy="9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938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367219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F464F90-DDEE-40EE-A282-6C8E88DC0EC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16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0" baseline="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pPr/>
              <a:t>13 July 2026</a:t>
            </a:fld>
            <a:endParaRPr lang="en-GB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3272EB3-C2F4-48AA-BDE0-723D2A1933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16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0" baseline="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4471DD93-BAC5-4C4C-87AE-B27C5F9047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1000" y="8752305"/>
            <a:ext cx="4373904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0" baseline="0"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4D41AD75-063D-4E09-89A9-E04D9A18A5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81000" y="8570490"/>
            <a:ext cx="4373904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0" baseline="0"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DA0471D7-43F7-4923-806F-DBF679089C52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526788" y="8283534"/>
            <a:ext cx="864000" cy="9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 spc="100" baseline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 spc="100" baseline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 spc="100" baseline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 spc="100" baseline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 spc="100" baseline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1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40368" y="398643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40368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007996-A0BB-46E5-B19D-65E7238FDFF7}"/>
              </a:ext>
            </a:extLst>
          </p:cNvPr>
          <p:cNvSpPr/>
          <p:nvPr userDrawn="1"/>
        </p:nvSpPr>
        <p:spPr>
          <a:xfrm>
            <a:off x="772703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E2D044-1785-4F6C-925B-87B443E24933}"/>
              </a:ext>
            </a:extLst>
          </p:cNvPr>
          <p:cNvSpPr/>
          <p:nvPr userDrawn="1"/>
        </p:nvSpPr>
        <p:spPr>
          <a:xfrm>
            <a:off x="6096000" y="6540366"/>
            <a:ext cx="6096000" cy="327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99DE7E-E9B5-4A08-8321-445D30E60B0C}"/>
              </a:ext>
            </a:extLst>
          </p:cNvPr>
          <p:cNvSpPr txBox="1"/>
          <p:nvPr userDrawn="1"/>
        </p:nvSpPr>
        <p:spPr>
          <a:xfrm>
            <a:off x="706184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658492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CA4EAF-B81D-4F64-B3B4-DFED4C9D4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24382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AD6294-031C-4D9D-9E85-63C27EDEC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39968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BD23866-4F7E-4D9B-BD95-ECC5B6A2F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26576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ktionsadskillelse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0CEC960D-57C5-4786-866D-C4EFD48A9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29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0CEC960D-57C5-4786-866D-C4EFD48A9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7491" y="3173785"/>
            <a:ext cx="8733030" cy="510430"/>
          </a:xfrm>
        </p:spPr>
        <p:txBody>
          <a:bodyPr anchor="b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0260" y="2718362"/>
            <a:ext cx="3312563" cy="341123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D0FC11-AE13-4643-A6EF-61A9E9C7D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8000" y="6546761"/>
            <a:ext cx="2304000" cy="30723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E88B7B-8294-45E6-8CF7-9B3D554CF01C}"/>
              </a:ext>
            </a:extLst>
          </p:cNvPr>
          <p:cNvCxnSpPr>
            <a:cxnSpLocks/>
          </p:cNvCxnSpPr>
          <p:nvPr userDrawn="1"/>
        </p:nvCxnSpPr>
        <p:spPr>
          <a:xfrm>
            <a:off x="1590261" y="3925515"/>
            <a:ext cx="910748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65525E-7EEE-4269-B689-F6F445016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628997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00E937-149A-4D17-A84B-A74E4B2C27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62823" y="2882899"/>
            <a:ext cx="0" cy="10800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E35532-5154-4D53-8579-D5E13B2CE9EB}"/>
              </a:ext>
            </a:extLst>
          </p:cNvPr>
          <p:cNvCxnSpPr>
            <a:cxnSpLocks/>
          </p:cNvCxnSpPr>
          <p:nvPr userDrawn="1"/>
        </p:nvCxnSpPr>
        <p:spPr>
          <a:xfrm>
            <a:off x="1590261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E042D0-E5A1-438F-BE58-8D480441364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7782823" y="2920999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1005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07B79-9A51-47AA-81BA-BF4D7FB4F2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07B79-9A51-47AA-81BA-BF4D7FB4F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D894F14-C8A1-4C43-BE36-E44983558060}"/>
              </a:ext>
            </a:extLst>
          </p:cNvPr>
          <p:cNvSpPr/>
          <p:nvPr userDrawn="1"/>
        </p:nvSpPr>
        <p:spPr>
          <a:xfrm>
            <a:off x="6095999" y="0"/>
            <a:ext cx="6114081" cy="68681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035079-2751-47A1-8A45-7E09964CAC68}"/>
              </a:ext>
            </a:extLst>
          </p:cNvPr>
          <p:cNvSpPr/>
          <p:nvPr userDrawn="1"/>
        </p:nvSpPr>
        <p:spPr>
          <a:xfrm>
            <a:off x="0" y="0"/>
            <a:ext cx="6096000" cy="6868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972" y="4007404"/>
            <a:ext cx="5510012" cy="369122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0972" y="2799923"/>
            <a:ext cx="5510012" cy="129222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3D4A9-5AD8-4340-A15B-2B161A60341F}"/>
              </a:ext>
            </a:extLst>
          </p:cNvPr>
          <p:cNvSpPr/>
          <p:nvPr userDrawn="1"/>
        </p:nvSpPr>
        <p:spPr>
          <a:xfrm>
            <a:off x="1535783" y="6171034"/>
            <a:ext cx="3820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chemeClr val="bg2"/>
                </a:solidFill>
                <a:latin typeface="+mj-lt"/>
              </a:rPr>
              <a:t>StruktureretSundFornuft.dk</a:t>
            </a:r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83EBA8-55F1-4618-936A-CA57032246EA}"/>
              </a:ext>
            </a:extLst>
          </p:cNvPr>
          <p:cNvSpPr txBox="1"/>
          <p:nvPr userDrawn="1"/>
        </p:nvSpPr>
        <p:spPr>
          <a:xfrm>
            <a:off x="870598" y="5873620"/>
            <a:ext cx="4920602" cy="371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n Bleeker Pedersen</a:t>
            </a:r>
          </a:p>
        </p:txBody>
      </p:sp>
    </p:spTree>
    <p:extLst>
      <p:ext uri="{BB962C8B-B14F-4D97-AF65-F5344CB8AC3E}">
        <p14:creationId xmlns:p14="http://schemas.microsoft.com/office/powerpoint/2010/main" val="140024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E8CF85F-E4F2-445B-AB35-574BF6213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75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9" progId="TCLayout.ActiveDocument.1">
                  <p:embed/>
                </p:oleObj>
              </mc:Choice>
              <mc:Fallback>
                <p:oleObj name="think-cell Slide" r:id="rId3" imgW="409" imgH="40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E8CF85F-E4F2-445B-AB35-574BF6213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709B8C-1D98-424D-8E21-EC065F874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DH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6C5FA2-2C94-44BC-AAAA-9AE4E3F376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 hidden="1">
            <a:extLst>
              <a:ext uri="{FF2B5EF4-FFF2-40B4-BE49-F238E27FC236}">
                <a16:creationId xmlns:a16="http://schemas.microsoft.com/office/drawing/2014/main" id="{6649A4F1-5602-4D6F-900F-BE7800D10F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>
            <a:extLst>
              <a:ext uri="{FF2B5EF4-FFF2-40B4-BE49-F238E27FC236}">
                <a16:creationId xmlns:a16="http://schemas.microsoft.com/office/drawing/2014/main" id="{9782C0C6-91F5-489C-A803-59C93FC8BA73}"/>
              </a:ext>
            </a:extLst>
          </p:cNvPr>
          <p:cNvGrpSpPr/>
          <p:nvPr userDrawn="1"/>
        </p:nvGrpSpPr>
        <p:grpSpPr>
          <a:xfrm>
            <a:off x="1191911" y="1619148"/>
            <a:ext cx="9639222" cy="369332"/>
            <a:chOff x="1797664" y="2085631"/>
            <a:chExt cx="8657274" cy="369332"/>
          </a:xfrm>
        </p:grpSpPr>
        <p:sp>
          <p:nvSpPr>
            <p:cNvPr id="6" name="Textbox" hidden="1">
              <a:extLst>
                <a:ext uri="{FF2B5EF4-FFF2-40B4-BE49-F238E27FC236}">
                  <a16:creationId xmlns:a16="http://schemas.microsoft.com/office/drawing/2014/main" id="{A269F6AC-38F5-4D13-89C0-65EE9313F40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>
              <a:extLst>
                <a:ext uri="{FF2B5EF4-FFF2-40B4-BE49-F238E27FC236}">
                  <a16:creationId xmlns:a16="http://schemas.microsoft.com/office/drawing/2014/main" id="{BC2655DE-83A0-43E6-8C28-3BE37D1379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8" name="Textbox" hidden="1">
              <a:extLst>
                <a:ext uri="{FF2B5EF4-FFF2-40B4-BE49-F238E27FC236}">
                  <a16:creationId xmlns:a16="http://schemas.microsoft.com/office/drawing/2014/main" id="{42D8E27D-9574-4CB8-B8F9-48F933F586D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>
              <a:extLst>
                <a:ext uri="{FF2B5EF4-FFF2-40B4-BE49-F238E27FC236}">
                  <a16:creationId xmlns:a16="http://schemas.microsoft.com/office/drawing/2014/main" id="{4F7E17E3-B719-488B-8AD2-F05AA319BC7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>
              <a:extLst>
                <a:ext uri="{FF2B5EF4-FFF2-40B4-BE49-F238E27FC236}">
                  <a16:creationId xmlns:a16="http://schemas.microsoft.com/office/drawing/2014/main" id="{74611DFD-7904-4BA3-9686-AB5161BF01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>
              <a:extLst>
                <a:ext uri="{FF2B5EF4-FFF2-40B4-BE49-F238E27FC236}">
                  <a16:creationId xmlns:a16="http://schemas.microsoft.com/office/drawing/2014/main" id="{2EC11011-F0D6-4DAA-A371-729CEE051E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64370A34-B2E4-4079-9FD8-DD6F5666F772}"/>
              </a:ext>
            </a:extLst>
          </p:cNvPr>
          <p:cNvGrpSpPr/>
          <p:nvPr userDrawn="1"/>
        </p:nvGrpSpPr>
        <p:grpSpPr>
          <a:xfrm>
            <a:off x="1191910" y="2150480"/>
            <a:ext cx="9639221" cy="369332"/>
            <a:chOff x="990142" y="2498210"/>
            <a:chExt cx="8657274" cy="369332"/>
          </a:xfrm>
        </p:grpSpPr>
        <p:sp>
          <p:nvSpPr>
            <p:cNvPr id="42" name="Rectangle 41" hidden="1">
              <a:extLst>
                <a:ext uri="{FF2B5EF4-FFF2-40B4-BE49-F238E27FC236}">
                  <a16:creationId xmlns:a16="http://schemas.microsoft.com/office/drawing/2014/main" id="{500A5440-0BB1-4E10-B2FF-4FD5A77166F9}"/>
                </a:ext>
              </a:extLst>
            </p:cNvPr>
            <p:cNvSpPr/>
            <p:nvPr userDrawn="1"/>
          </p:nvSpPr>
          <p:spPr>
            <a:xfrm>
              <a:off x="1458282" y="2498210"/>
              <a:ext cx="7462140" cy="3693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" hidden="1">
              <a:extLst>
                <a:ext uri="{FF2B5EF4-FFF2-40B4-BE49-F238E27FC236}">
                  <a16:creationId xmlns:a16="http://schemas.microsoft.com/office/drawing/2014/main" id="{04DC40D5-28C1-476F-8E7A-56EDB241FE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9698" y="2498210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4" name="Textbox" hidden="1">
              <a:extLst>
                <a:ext uri="{FF2B5EF4-FFF2-40B4-BE49-F238E27FC236}">
                  <a16:creationId xmlns:a16="http://schemas.microsoft.com/office/drawing/2014/main" id="{A0C76D54-13CE-4E1B-846D-61973F00947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142" y="2498210"/>
              <a:ext cx="379556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15" name="Textbox" hidden="1">
              <a:extLst>
                <a:ext uri="{FF2B5EF4-FFF2-40B4-BE49-F238E27FC236}">
                  <a16:creationId xmlns:a16="http://schemas.microsoft.com/office/drawing/2014/main" id="{9BF396B0-F6F4-4DF1-A1C8-0DCFA2C42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2498210"/>
              <a:ext cx="636994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6" name="Textbox" hidden="1">
              <a:extLst>
                <a:ext uri="{FF2B5EF4-FFF2-40B4-BE49-F238E27FC236}">
                  <a16:creationId xmlns:a16="http://schemas.microsoft.com/office/drawing/2014/main" id="{4ABFD09E-B982-46E9-9A60-1B85F7096F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2498210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7" name="Textbox" hidden="1">
              <a:extLst>
                <a:ext uri="{FF2B5EF4-FFF2-40B4-BE49-F238E27FC236}">
                  <a16:creationId xmlns:a16="http://schemas.microsoft.com/office/drawing/2014/main" id="{5E0DE3B3-F1C8-4255-9563-279A5CDB87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2498210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8" name="Textbox" hidden="1">
              <a:extLst>
                <a:ext uri="{FF2B5EF4-FFF2-40B4-BE49-F238E27FC236}">
                  <a16:creationId xmlns:a16="http://schemas.microsoft.com/office/drawing/2014/main" id="{1C893182-BC8E-4F71-A85A-AE06FF1BC3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2498210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19" name="SP Agenda Subsection" hidden="1">
            <a:extLst>
              <a:ext uri="{FF2B5EF4-FFF2-40B4-BE49-F238E27FC236}">
                <a16:creationId xmlns:a16="http://schemas.microsoft.com/office/drawing/2014/main" id="{6C59CFB0-9C0F-4873-A74D-1D8A4ED41ACA}"/>
              </a:ext>
            </a:extLst>
          </p:cNvPr>
          <p:cNvGrpSpPr>
            <a:grpSpLocks/>
          </p:cNvGrpSpPr>
          <p:nvPr userDrawn="1"/>
        </p:nvGrpSpPr>
        <p:grpSpPr>
          <a:xfrm>
            <a:off x="1713147" y="2681812"/>
            <a:ext cx="9117984" cy="369332"/>
            <a:chOff x="2265804" y="3155687"/>
            <a:chExt cx="8189134" cy="369332"/>
          </a:xfrm>
        </p:grpSpPr>
        <p:sp>
          <p:nvSpPr>
            <p:cNvPr id="20" name="Textbox" hidden="1">
              <a:extLst>
                <a:ext uri="{FF2B5EF4-FFF2-40B4-BE49-F238E27FC236}">
                  <a16:creationId xmlns:a16="http://schemas.microsoft.com/office/drawing/2014/main" id="{DEF76C32-8D42-45A5-82FD-6B98FB65DD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>
              <a:extLst>
                <a:ext uri="{FF2B5EF4-FFF2-40B4-BE49-F238E27FC236}">
                  <a16:creationId xmlns:a16="http://schemas.microsoft.com/office/drawing/2014/main" id="{DD069B43-BEE8-4674-B2C7-B3CED8A5636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A&gt;</a:t>
              </a:r>
            </a:p>
          </p:txBody>
        </p:sp>
        <p:sp>
          <p:nvSpPr>
            <p:cNvPr id="22" name="Textbox" hidden="1">
              <a:extLst>
                <a:ext uri="{FF2B5EF4-FFF2-40B4-BE49-F238E27FC236}">
                  <a16:creationId xmlns:a16="http://schemas.microsoft.com/office/drawing/2014/main" id="{F38A475F-AEEE-44F8-B139-9243EC413F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>
              <a:extLst>
                <a:ext uri="{FF2B5EF4-FFF2-40B4-BE49-F238E27FC236}">
                  <a16:creationId xmlns:a16="http://schemas.microsoft.com/office/drawing/2014/main" id="{16D82A3A-D079-41CC-BAF5-9D873F5251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>
              <a:extLst>
                <a:ext uri="{FF2B5EF4-FFF2-40B4-BE49-F238E27FC236}">
                  <a16:creationId xmlns:a16="http://schemas.microsoft.com/office/drawing/2014/main" id="{E5BDF123-CF0E-4A5F-AA7C-3A5C9CBE1C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>
              <a:extLst>
                <a:ext uri="{FF2B5EF4-FFF2-40B4-BE49-F238E27FC236}">
                  <a16:creationId xmlns:a16="http://schemas.microsoft.com/office/drawing/2014/main" id="{8BACF246-D7FC-4ECB-AB11-A2CD1AA899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7" name="SP Agenda Subsection Highlight" hidden="1">
            <a:extLst>
              <a:ext uri="{FF2B5EF4-FFF2-40B4-BE49-F238E27FC236}">
                <a16:creationId xmlns:a16="http://schemas.microsoft.com/office/drawing/2014/main" id="{09A11E04-966F-41EF-A66B-6270584A4834}"/>
              </a:ext>
            </a:extLst>
          </p:cNvPr>
          <p:cNvGrpSpPr/>
          <p:nvPr userDrawn="1"/>
        </p:nvGrpSpPr>
        <p:grpSpPr>
          <a:xfrm>
            <a:off x="1713149" y="3213144"/>
            <a:ext cx="9117982" cy="369332"/>
            <a:chOff x="1458282" y="3560874"/>
            <a:chExt cx="8189134" cy="369332"/>
          </a:xfrm>
        </p:grpSpPr>
        <p:sp>
          <p:nvSpPr>
            <p:cNvPr id="46" name="Rectangle 45" hidden="1">
              <a:extLst>
                <a:ext uri="{FF2B5EF4-FFF2-40B4-BE49-F238E27FC236}">
                  <a16:creationId xmlns:a16="http://schemas.microsoft.com/office/drawing/2014/main" id="{BEB9D147-E45F-4CBA-8BB8-124F951687AA}"/>
                </a:ext>
              </a:extLst>
            </p:cNvPr>
            <p:cNvSpPr/>
            <p:nvPr userDrawn="1"/>
          </p:nvSpPr>
          <p:spPr>
            <a:xfrm>
              <a:off x="1936601" y="3560874"/>
              <a:ext cx="6983821" cy="369332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" hidden="1">
              <a:extLst>
                <a:ext uri="{FF2B5EF4-FFF2-40B4-BE49-F238E27FC236}">
                  <a16:creationId xmlns:a16="http://schemas.microsoft.com/office/drawing/2014/main" id="{84A35C0F-4877-4A74-B3A2-5449B85C45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936601" y="3560874"/>
              <a:ext cx="336644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8" name="Textbox" hidden="1">
              <a:extLst>
                <a:ext uri="{FF2B5EF4-FFF2-40B4-BE49-F238E27FC236}">
                  <a16:creationId xmlns:a16="http://schemas.microsoft.com/office/drawing/2014/main" id="{BDAE3551-9E32-4611-BB10-C54C61215F6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58282" y="3560874"/>
              <a:ext cx="379556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&lt;A&gt;</a:t>
              </a:r>
            </a:p>
          </p:txBody>
        </p:sp>
        <p:sp>
          <p:nvSpPr>
            <p:cNvPr id="29" name="Textbox" hidden="1">
              <a:extLst>
                <a:ext uri="{FF2B5EF4-FFF2-40B4-BE49-F238E27FC236}">
                  <a16:creationId xmlns:a16="http://schemas.microsoft.com/office/drawing/2014/main" id="{D44729BD-2693-488A-9FDB-CF0409B58C6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010422" y="3560874"/>
              <a:ext cx="636994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0" name="Textbox" hidden="1">
              <a:extLst>
                <a:ext uri="{FF2B5EF4-FFF2-40B4-BE49-F238E27FC236}">
                  <a16:creationId xmlns:a16="http://schemas.microsoft.com/office/drawing/2014/main" id="{D38F417A-2BB3-4C93-967F-A20FAC08E2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888638" y="3560874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1" name="Textbox" hidden="1">
              <a:extLst>
                <a:ext uri="{FF2B5EF4-FFF2-40B4-BE49-F238E27FC236}">
                  <a16:creationId xmlns:a16="http://schemas.microsoft.com/office/drawing/2014/main" id="{40C442B9-F2CD-41CF-961A-B30AB4EAC8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401808" y="3560874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2" name="Textbox" hidden="1">
              <a:extLst>
                <a:ext uri="{FF2B5EF4-FFF2-40B4-BE49-F238E27FC236}">
                  <a16:creationId xmlns:a16="http://schemas.microsoft.com/office/drawing/2014/main" id="{AC28C0FD-624E-4EC3-B771-3A3729FB02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235699" y="3560874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35" name="SP Headers">
            <a:extLst>
              <a:ext uri="{FF2B5EF4-FFF2-40B4-BE49-F238E27FC236}">
                <a16:creationId xmlns:a16="http://schemas.microsoft.com/office/drawing/2014/main" id="{650AD541-2F3A-40BF-BDCD-38C6C4AFB63B}"/>
              </a:ext>
            </a:extLst>
          </p:cNvPr>
          <p:cNvGrpSpPr/>
          <p:nvPr userDrawn="1"/>
        </p:nvGrpSpPr>
        <p:grpSpPr>
          <a:xfrm>
            <a:off x="1191911" y="1307290"/>
            <a:ext cx="9639222" cy="369332"/>
            <a:chOff x="1797664" y="2085631"/>
            <a:chExt cx="8657274" cy="369332"/>
          </a:xfrm>
        </p:grpSpPr>
        <p:sp>
          <p:nvSpPr>
            <p:cNvPr id="36" name="Textbox">
              <a:extLst>
                <a:ext uri="{FF2B5EF4-FFF2-40B4-BE49-F238E27FC236}">
                  <a16:creationId xmlns:a16="http://schemas.microsoft.com/office/drawing/2014/main" id="{C3656406-83DB-4241-9087-FC1B8A52FC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Emne</a:t>
              </a:r>
            </a:p>
          </p:txBody>
        </p:sp>
        <p:sp>
          <p:nvSpPr>
            <p:cNvPr id="37" name="Textbox">
              <a:extLst>
                <a:ext uri="{FF2B5EF4-FFF2-40B4-BE49-F238E27FC236}">
                  <a16:creationId xmlns:a16="http://schemas.microsoft.com/office/drawing/2014/main" id="{D7EEF733-7E82-49BB-894A-8ECF7AFF8E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#</a:t>
              </a:r>
            </a:p>
          </p:txBody>
        </p:sp>
        <p:sp>
          <p:nvSpPr>
            <p:cNvPr id="38" name="Textbox">
              <a:extLst>
                <a:ext uri="{FF2B5EF4-FFF2-40B4-BE49-F238E27FC236}">
                  <a16:creationId xmlns:a16="http://schemas.microsoft.com/office/drawing/2014/main" id="{E1654C17-0C15-4D18-96CC-9FCA2743B8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noProof="1">
                  <a:solidFill>
                    <a:schemeClr val="bg1">
                      <a:lumMod val="85000"/>
                    </a:schemeClr>
                  </a:solidFill>
                </a:rPr>
                <a:t>S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2214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2C86C9-571B-405E-B4E7-76EC4DF9E845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38303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9" imgH="409" progId="TCLayout.ActiveDocument.1">
                  <p:embed/>
                </p:oleObj>
              </mc:Choice>
              <mc:Fallback>
                <p:oleObj name="think-cell Slide" r:id="rId10" imgW="409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2C86C9-571B-405E-B4E7-76EC4DF9E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uttomBox">
            <a:extLst>
              <a:ext uri="{FF2B5EF4-FFF2-40B4-BE49-F238E27FC236}">
                <a16:creationId xmlns:a16="http://schemas.microsoft.com/office/drawing/2014/main" id="{38F45CBB-6354-4223-8C98-D971DF2439F3}"/>
              </a:ext>
            </a:extLst>
          </p:cNvPr>
          <p:cNvSpPr/>
          <p:nvPr userDrawn="1"/>
        </p:nvSpPr>
        <p:spPr>
          <a:xfrm>
            <a:off x="0" y="6546761"/>
            <a:ext cx="12192000" cy="3213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639" y="151188"/>
            <a:ext cx="11253680" cy="886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639" y="1206321"/>
            <a:ext cx="11253680" cy="4944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6950" y="6546761"/>
            <a:ext cx="2305050" cy="3213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 dirty="0"/>
              <a:t>StruktureretSundFornuft.dk | </a:t>
            </a:r>
            <a:fld id="{560CA3AB-AC19-4D9C-8C95-DB933072B0B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[Placeholder]Source" hidden="1">
            <a:extLst>
              <a:ext uri="{FF2B5EF4-FFF2-40B4-BE49-F238E27FC236}">
                <a16:creationId xmlns:a16="http://schemas.microsoft.com/office/drawing/2014/main" id="{38A5CB49-647E-4B6D-B605-088C4DA4C246}"/>
              </a:ext>
            </a:extLst>
          </p:cNvPr>
          <p:cNvSpPr/>
          <p:nvPr userDrawn="1"/>
        </p:nvSpPr>
        <p:spPr>
          <a:xfrm>
            <a:off x="0" y="6546761"/>
            <a:ext cx="10281634" cy="307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Source:	[ insert source – can be up to two lines ]</a:t>
            </a:r>
          </a:p>
        </p:txBody>
      </p:sp>
      <p:sp>
        <p:nvSpPr>
          <p:cNvPr id="13" name="[Placeholder]Notes" hidden="1">
            <a:extLst>
              <a:ext uri="{FF2B5EF4-FFF2-40B4-BE49-F238E27FC236}">
                <a16:creationId xmlns:a16="http://schemas.microsoft.com/office/drawing/2014/main" id="{2C50D0E2-2F5D-469A-95A7-F9886CAD096A}"/>
              </a:ext>
            </a:extLst>
          </p:cNvPr>
          <p:cNvSpPr/>
          <p:nvPr userDrawn="1"/>
        </p:nvSpPr>
        <p:spPr>
          <a:xfrm>
            <a:off x="0" y="6070600"/>
            <a:ext cx="12192000" cy="47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446088" indent="-446088">
              <a:tabLst>
                <a:tab pos="446088" algn="l"/>
              </a:tabLst>
            </a:pPr>
            <a:r>
              <a:rPr lang="en-US" sz="800" dirty="0">
                <a:solidFill>
                  <a:schemeClr val="tx1"/>
                </a:solidFill>
                <a:latin typeface="+mn-lt"/>
              </a:rPr>
              <a:t>Notes:	[ insert source – can be up to two lines ]</a:t>
            </a:r>
          </a:p>
        </p:txBody>
      </p:sp>
      <p:graphicFrame>
        <p:nvGraphicFramePr>
          <p:cNvPr id="14" name="[Presentation]Draft" hidden="1">
            <a:extLst>
              <a:ext uri="{FF2B5EF4-FFF2-40B4-BE49-F238E27FC236}">
                <a16:creationId xmlns:a16="http://schemas.microsoft.com/office/drawing/2014/main" id="{F605CC67-0856-4096-B572-BAAA8271DE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3493806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RAFT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  <p:graphicFrame>
        <p:nvGraphicFramePr>
          <p:cNvPr id="15" name="[Placeholder]Not done" hidden="1">
            <a:extLst>
              <a:ext uri="{FF2B5EF4-FFF2-40B4-BE49-F238E27FC236}">
                <a16:creationId xmlns:a16="http://schemas.microsoft.com/office/drawing/2014/main" id="{9E9E2587-03E5-4096-B789-51E3047F8C4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8011103"/>
              </p:ext>
            </p:extLst>
          </p:nvPr>
        </p:nvGraphicFramePr>
        <p:xfrm>
          <a:off x="10623550" y="71966"/>
          <a:ext cx="147955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550">
                  <a:extLst>
                    <a:ext uri="{9D8B030D-6E8A-4147-A177-3AD203B41FA5}">
                      <a16:colId xmlns:a16="http://schemas.microsoft.com/office/drawing/2014/main" val="4069253580"/>
                    </a:ext>
                  </a:extLst>
                </a:gridCol>
              </a:tblGrid>
              <a:tr h="264584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OT DONE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452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9336C-4E7B-4EB4-8A53-755BDEB4E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[ Agendapunkt – skriv navn som overskrift  - DA 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F0EC63-AE26-497D-9421-0804FA75D6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ruktureretSundFornuft.dk | </a:t>
            </a:r>
            <a:fld id="{560CA3AB-AC19-4D9C-8C95-DB933072B0B4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AA318EDB-E417-4D19-82CD-5C4F04CE6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0570769"/>
              </p:ext>
            </p:extLst>
          </p:nvPr>
        </p:nvGraphicFramePr>
        <p:xfrm>
          <a:off x="1242874" y="1357471"/>
          <a:ext cx="9078416" cy="4584400"/>
        </p:xfrm>
        <a:graphic>
          <a:graphicData uri="http://schemas.openxmlformats.org/drawingml/2006/table">
            <a:tbl>
              <a:tblPr bandRow="1">
                <a:effectLst/>
                <a:tableStyleId>{5C22544A-7EE6-4342-B048-85BDC9FD1C3A}</a:tableStyleId>
              </a:tblPr>
              <a:tblGrid>
                <a:gridCol w="12784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3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8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8323">
                <a:tc>
                  <a:txBody>
                    <a:bodyPr/>
                    <a:lstStyle/>
                    <a:p>
                      <a:r>
                        <a:rPr lang="da-DK" sz="1200" b="1" dirty="0"/>
                        <a:t>Emne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da-DK" sz="1200" b="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Overskrift på emnet fra agendaen – eks. 4.1 Beslutning om …</a:t>
                      </a:r>
                      <a:r>
                        <a:rPr lang="da-DK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da-DK" sz="1200" b="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200" b="1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000">
                <a:tc>
                  <a:txBody>
                    <a:bodyPr/>
                    <a:lstStyle/>
                    <a:p>
                      <a:endParaRPr lang="da-DK" sz="100" b="1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" b="1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808">
                <a:tc>
                  <a:txBody>
                    <a:bodyPr/>
                    <a:lstStyle/>
                    <a:p>
                      <a:r>
                        <a:rPr lang="da-DK" sz="1200" b="1" dirty="0"/>
                        <a:t>Ansvarlig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a-DK" sz="1200" dirty="0"/>
                        <a:t>[ Angi</a:t>
                      </a:r>
                      <a:r>
                        <a:rPr lang="da-DK" sz="1200" baseline="0" dirty="0"/>
                        <a:t>v navn eller navne samt organisation for den der fremlæger ]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000">
                <a:tc>
                  <a:txBody>
                    <a:bodyPr/>
                    <a:lstStyle/>
                    <a:p>
                      <a:endParaRPr lang="da-DK" sz="200" b="1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da-DK" sz="2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dirty="0"/>
                        <a:t>Forum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a-DK" sz="1200" dirty="0"/>
                        <a:t>Angiv hvilket møde der er tale om samt dato og eventuelt sted for indlæg. Vær så præcis som mulig.</a:t>
                      </a:r>
                    </a:p>
                    <a:p>
                      <a:r>
                        <a:rPr lang="da-DK" sz="1200" dirty="0"/>
                        <a:t>Eksempelvis </a:t>
                      </a:r>
                      <a:r>
                        <a:rPr lang="da-DK" sz="1200" i="1" dirty="0"/>
                        <a:t>Ledermøde</a:t>
                      </a:r>
                      <a:r>
                        <a:rPr lang="da-DK" sz="1200" i="1" baseline="0" dirty="0"/>
                        <a:t> i XX den 30. januar 2015.</a:t>
                      </a:r>
                      <a:endParaRPr lang="da-DK" sz="120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000">
                <a:tc>
                  <a:txBody>
                    <a:bodyPr/>
                    <a:lstStyle/>
                    <a:p>
                      <a:endParaRPr lang="da-DK" sz="300" b="1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da-DK" sz="300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r>
                        <a:rPr lang="da-DK" sz="1200" b="1" dirty="0"/>
                        <a:t>Type 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X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Beslutning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X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Information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X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Diskussion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X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Workshop / Input</a:t>
                      </a:r>
                    </a:p>
                  </a:txBody>
                  <a:tcPr marL="91449" marR="914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0000">
                <a:tc>
                  <a:txBody>
                    <a:bodyPr/>
                    <a:lstStyle/>
                    <a:p>
                      <a:endParaRPr lang="da-DK" sz="400" b="1" dirty="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4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r>
                        <a:rPr lang="da-DK" sz="1200" b="1" dirty="0"/>
                        <a:t>Formål</a:t>
                      </a:r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a-DK" sz="1200" dirty="0"/>
                        <a:t>[ Beskriv</a:t>
                      </a:r>
                      <a:r>
                        <a:rPr lang="da-DK" sz="1200" baseline="0" dirty="0"/>
                        <a:t> formålet med agendapunktet i et par sætninger ]</a:t>
                      </a:r>
                    </a:p>
                    <a:p>
                      <a:endParaRPr lang="da-DK" sz="1200" baseline="0" dirty="0"/>
                    </a:p>
                    <a:p>
                      <a:endParaRPr lang="da-DK" sz="1200" baseline="0" dirty="0"/>
                    </a:p>
                    <a:p>
                      <a:endParaRPr lang="da-DK" sz="1200" baseline="0" dirty="0"/>
                    </a:p>
                    <a:p>
                      <a:endParaRPr lang="da-DK" sz="1200" baseline="0" dirty="0"/>
                    </a:p>
                  </a:txBody>
                  <a:tcPr marL="91449" marR="914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91449" marR="91449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135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eretsundfornuft-dk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uktureretSundFornuft" id="{41E4506C-2E25-4B18-8A34-7C573775F515}" vid="{9304D8A6-ADF3-47A5-98BE-59250B9276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STSELLER">
      <a:majorFont>
        <a:latin typeface="Adelle BS Office"/>
        <a:ea typeface=""/>
        <a:cs typeface=""/>
      </a:majorFont>
      <a:minorFont>
        <a:latin typeface="Adelle B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ACK">
      <a:srgbClr val="222221"/>
    </a:custClr>
    <a:custClr name="BLACK U">
      <a:srgbClr val="67645C"/>
    </a:custClr>
    <a:custClr name="SAND 100">
      <a:srgbClr val="877B62"/>
    </a:custClr>
    <a:custClr name="KHAKI 100">
      <a:srgbClr val="777261"/>
    </a:custClr>
    <a:custClr name="SAHAR 100">
      <a:srgbClr val="9D895A"/>
    </a:custClr>
    <a:custClr name="GREEN 100">
      <a:srgbClr val="3A4435"/>
    </a:custClr>
    <a:custClr name="BLUE 100">
      <a:srgbClr val="2B393F"/>
    </a:custClr>
    <a:custClr name="RUST 100">
      <a:srgbClr val="6B4837"/>
    </a:custClr>
    <a:custClr name="Color has no name">
      <a:srgbClr val="FFFFFF"/>
    </a:custClr>
    <a:custClr name="HIGHLIGHT YELLOW">
      <a:srgbClr val="DAB221"/>
    </a:custClr>
    <a:custClr name="PANTONE 425U">
      <a:srgbClr val="707074"/>
    </a:custClr>
    <a:custClr name="PANTONE 405U">
      <a:srgbClr val="85837D"/>
    </a:custClr>
    <a:custClr name="SAND 80">
      <a:srgbClr val="9F9581"/>
    </a:custClr>
    <a:custClr name="KHAKI 80">
      <a:srgbClr val="928E80"/>
    </a:custClr>
    <a:custClr name="SAHARA 80">
      <a:srgbClr val="B1A17B"/>
    </a:custClr>
    <a:custClr name="GREEN 80">
      <a:srgbClr val="61695D"/>
    </a:custClr>
    <a:custClr name="BLUE 80">
      <a:srgbClr val="556165"/>
    </a:custClr>
    <a:custClr name="RUST 80">
      <a:srgbClr val="896D5F"/>
    </a:custClr>
    <a:custClr name="Color has no name">
      <a:srgbClr val="FFFFFF"/>
    </a:custClr>
    <a:custClr name="HIGHLIGHT RED">
      <a:srgbClr val="7C363C"/>
    </a:custClr>
    <a:custClr name="PANTONE 423U">
      <a:srgbClr val="929395"/>
    </a:custClr>
    <a:custClr name="PANTONE 403U">
      <a:srgbClr val="A4A29D"/>
    </a:custClr>
    <a:custClr name="SAND 60">
      <a:srgbClr val="B7B0A1"/>
    </a:custClr>
    <a:custClr name="KHAKI 60">
      <a:srgbClr val="ADAAA0"/>
    </a:custClr>
    <a:custClr name="SAHARA 60">
      <a:srgbClr val="C4B89C"/>
    </a:custClr>
    <a:custClr name="GREEN 60">
      <a:srgbClr val="898F86"/>
    </a:custClr>
    <a:custClr name="BLUE 60">
      <a:srgbClr val="80888C"/>
    </a:custClr>
    <a:custClr name="RUST 60">
      <a:srgbClr val="A69187"/>
    </a:custClr>
    <a:custClr name="Color has no name">
      <a:srgbClr val="FFFFFF"/>
    </a:custClr>
    <a:custClr name="HIGHLIGHT GREEN">
      <a:srgbClr val="6B734B"/>
    </a:custClr>
    <a:custClr name="PANTONE 421U">
      <a:srgbClr val="B0B0AE"/>
    </a:custClr>
    <a:custClr name="PANTONE 401U">
      <a:srgbClr val="C2C1BE"/>
    </a:custClr>
    <a:custClr name="SAND 40">
      <a:srgbClr val="CFCAC0"/>
    </a:custClr>
    <a:custClr name="KHAKI 40">
      <a:srgbClr val="C8C6BF"/>
    </a:custClr>
    <a:custClr name="SAHARA 40">
      <a:srgbClr val="D8D0BD"/>
    </a:custClr>
    <a:custClr name="GREEN 40">
      <a:srgbClr val="B0B4AE"/>
    </a:custClr>
    <a:custClr name="BLUE 40">
      <a:srgbClr val="AAB0B2"/>
    </a:custClr>
    <a:custClr name="RUST 40">
      <a:srgbClr val="C4B6AF"/>
    </a:custClr>
    <a:custClr name="Color has no name">
      <a:srgbClr val="FFFFFF"/>
    </a:custClr>
    <a:custClr name="HIGHLIGHT BLUE">
      <a:srgbClr val="0F3B64"/>
    </a:custClr>
    <a:custClr name="COOL GREY 1U">
      <a:srgbClr val="DAD9D6"/>
    </a:custClr>
    <a:custClr name="WARM GREY 1U">
      <a:srgbClr val="E0E0DE"/>
    </a:custClr>
    <a:custClr name="SAND 20">
      <a:srgbClr val="E7E5E0"/>
    </a:custClr>
    <a:custClr name="KHAKI 20">
      <a:srgbClr val="E3E2DF"/>
    </a:custClr>
    <a:custClr name="SAHARA 20">
      <a:srgbClr val="EBE7DE"/>
    </a:custClr>
    <a:custClr name="GREEN 20">
      <a:srgbClr val="D7DAD7"/>
    </a:custClr>
    <a:custClr name="BLUE 20">
      <a:srgbClr val="D5D7D9"/>
    </a:custClr>
    <a:custClr name="RUST 20">
      <a:srgbClr val="E1DAD7"/>
    </a:custClr>
  </a:custClrLst>
</a:theme>
</file>

<file path=ppt/theme/theme3.xml><?xml version="1.0" encoding="utf-8"?>
<a:theme xmlns:a="http://schemas.openxmlformats.org/drawingml/2006/main" name="Office Theme">
  <a:themeElements>
    <a:clrScheme name="Bestseller PP">
      <a:dk1>
        <a:srgbClr val="222222"/>
      </a:dk1>
      <a:lt1>
        <a:sysClr val="window" lastClr="FFFFFF"/>
      </a:lt1>
      <a:dk2>
        <a:srgbClr val="707174"/>
      </a:dk2>
      <a:lt2>
        <a:srgbClr val="E2E1DC"/>
      </a:lt2>
      <a:accent1>
        <a:srgbClr val="67645C"/>
      </a:accent1>
      <a:accent2>
        <a:srgbClr val="877B62"/>
      </a:accent2>
      <a:accent3>
        <a:srgbClr val="DAB221"/>
      </a:accent3>
      <a:accent4>
        <a:srgbClr val="7C363C"/>
      </a:accent4>
      <a:accent5>
        <a:srgbClr val="6B734B"/>
      </a:accent5>
      <a:accent6>
        <a:srgbClr val="0F3B64"/>
      </a:accent6>
      <a:hlink>
        <a:srgbClr val="0000FF"/>
      </a:hlink>
      <a:folHlink>
        <a:srgbClr val="800080"/>
      </a:folHlink>
    </a:clrScheme>
    <a:fontScheme name="BESTSELLER">
      <a:majorFont>
        <a:latin typeface="Adelle BS Office"/>
        <a:ea typeface=""/>
        <a:cs typeface=""/>
      </a:majorFont>
      <a:minorFont>
        <a:latin typeface="Adelle B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8A8C23720A424799D02E0B0DFE4B7D" ma:contentTypeVersion="17" ma:contentTypeDescription="Create a new document." ma:contentTypeScope="" ma:versionID="e1612b8ccc7256dc1e3bd85d61df40cc">
  <xsd:schema xmlns:xsd="http://www.w3.org/2001/XMLSchema" xmlns:xs="http://www.w3.org/2001/XMLSchema" xmlns:p="http://schemas.microsoft.com/office/2006/metadata/properties" xmlns:ns2="1ce47b7b-b44b-4ad1-bb2e-64bf40f5dd4c" xmlns:ns3="07ffe34e-605b-4240-9ab2-c2dd32a7939f" targetNamespace="http://schemas.microsoft.com/office/2006/metadata/properties" ma:root="true" ma:fieldsID="50a3a6dc5b02a1ccfb2b19572e1cc38d" ns2:_="" ns3:_="">
    <xsd:import namespace="1ce47b7b-b44b-4ad1-bb2e-64bf40f5dd4c"/>
    <xsd:import namespace="07ffe34e-605b-4240-9ab2-c2dd32a793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SearchProperties" minOccurs="0"/>
                <xsd:element ref="ns2:RightEnddat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e47b7b-b44b-4ad1-bb2e-64bf40f5dd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6f476acb-ba63-480c-91c3-8d7f493000d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RightEnddate" ma:index="23" nillable="true" ma:displayName="Right End date " ma:format="DateOnly" ma:internalName="RightEnddate">
      <xsd:simpleType>
        <xsd:restriction base="dms:DateTim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ffe34e-605b-4240-9ab2-c2dd32a7939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bc57dc45-96e6-4605-a099-76a29f8041f4}" ma:internalName="TaxCatchAll" ma:showField="CatchAllData" ma:web="07ffe34e-605b-4240-9ab2-c2dd32a793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1179616495931752449","enableDocumentContentUpdater":false,"version":"2.0"}]]></TemplafySlideTemplateConfiguration>
</file>

<file path=customXml/item13.xml><?xml version="1.0" encoding="utf-8"?>
<TemplafySlideTemplateConfiguration><![CDATA[{"slideVersion":1,"isValidatorEnabled":false,"isLocked":false,"elementsMetadata":[],"slideId":"1179616495931752448","enableDocumentContentUpdater":false,"version":"2.0"}]]></TemplafySlideTemplateConfiguration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TemplafySlideTemplateConfiguration><![CDATA[{"slideVersion":1,"isValidatorEnabled":false,"isLocked":false,"elementsMetadata":[],"slideId":"1179616495931752452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1,"isValidatorEnabled":false,"isLocked":false,"elementsMetadata":[],"slideId":"1179616495931752453","enableDocumentContentUpdater":fals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],"formDataEntries":[]}]]></TemplafyFormConfiguration>
</file>

<file path=customXml/item4.xml><?xml version="1.0" encoding="utf-8"?>
<TemplafySlideTemplateConfiguration><![CDATA[{"slideVersion":1,"isValidatorEnabled":false,"isLocked":false,"elementsMetadata":[],"slideId":"1179616495931752450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],"slideId":"1179616495931752451","enableDocumentContentUpdater":false,"version":"2.0"}]]></TemplafySlideTemplateConfiguration>
</file>

<file path=customXml/item6.xml><?xml version="1.0" encoding="utf-8"?>
<TemplafyTemplateConfiguration><![CDATA[{"elementsMetadata":[],"transformationConfigurations":[{"language":"{{DocumentLanguage}}","disableUpdates":false,"type":"proofingLanguage"}],"templateName":"Bestseller - Default presentation","templateDescription":"","enableDocumentContentUpdater":true,"version":"2.0"}]]></Templafy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e47b7b-b44b-4ad1-bb2e-64bf40f5dd4c">
      <Terms xmlns="http://schemas.microsoft.com/office/infopath/2007/PartnerControls"/>
    </lcf76f155ced4ddcb4097134ff3c332f>
    <TaxCatchAll xmlns="07ffe34e-605b-4240-9ab2-c2dd32a7939f" xsi:nil="true"/>
    <RightEnddate xmlns="1ce47b7b-b44b-4ad1-bb2e-64bf40f5dd4c" xsi:nil="true"/>
  </documentManagement>
</p:properties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0DE55FCC-3195-4402-8966-7FBA30DDD3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e47b7b-b44b-4ad1-bb2e-64bf40f5dd4c"/>
    <ds:schemaRef ds:uri="07ffe34e-605b-4240-9ab2-c2dd32a793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0.xml><?xml version="1.0" encoding="utf-8"?>
<ds:datastoreItem xmlns:ds="http://schemas.openxmlformats.org/officeDocument/2006/customXml" ds:itemID="{F27CDF04-7CBF-43E5-BC6C-DCD17CE4505D}">
  <ds:schemaRefs/>
</ds:datastoreItem>
</file>

<file path=customXml/itemProps11.xml><?xml version="1.0" encoding="utf-8"?>
<ds:datastoreItem xmlns:ds="http://schemas.openxmlformats.org/officeDocument/2006/customXml" ds:itemID="{E68459D5-588D-49D6-9705-2EFBD307E12E}">
  <ds:schemaRefs/>
</ds:datastoreItem>
</file>

<file path=customXml/itemProps12.xml><?xml version="1.0" encoding="utf-8"?>
<ds:datastoreItem xmlns:ds="http://schemas.openxmlformats.org/officeDocument/2006/customXml" ds:itemID="{A6FF56BA-9A91-4134-BEB9-05CD310F3DCE}">
  <ds:schemaRefs/>
</ds:datastoreItem>
</file>

<file path=customXml/itemProps13.xml><?xml version="1.0" encoding="utf-8"?>
<ds:datastoreItem xmlns:ds="http://schemas.openxmlformats.org/officeDocument/2006/customXml" ds:itemID="{E481AB9D-7EB2-4952-A188-B2FBD2151926}">
  <ds:schemaRefs/>
</ds:datastoreItem>
</file>

<file path=customXml/itemProps14.xml><?xml version="1.0" encoding="utf-8"?>
<ds:datastoreItem xmlns:ds="http://schemas.openxmlformats.org/officeDocument/2006/customXml" ds:itemID="{12202A7D-6ADD-4435-942A-66ABA211FBA4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2FD77672-5634-4628-BC92-9CFF28B6ED3B}">
  <ds:schemaRefs/>
</ds:datastoreItem>
</file>

<file path=customXml/itemProps16.xml><?xml version="1.0" encoding="utf-8"?>
<ds:datastoreItem xmlns:ds="http://schemas.openxmlformats.org/officeDocument/2006/customXml" ds:itemID="{FE0FF5FE-4AC4-4D6E-8ED3-8D4329948949}">
  <ds:schemaRefs/>
</ds:datastoreItem>
</file>

<file path=customXml/itemProps17.xml><?xml version="1.0" encoding="utf-8"?>
<ds:datastoreItem xmlns:ds="http://schemas.openxmlformats.org/officeDocument/2006/customXml" ds:itemID="{7D6FA870-A19A-4CE9-BCA6-4FEAFF228FCE}">
  <ds:schemaRefs/>
</ds:datastoreItem>
</file>

<file path=customXml/itemProps2.xml><?xml version="1.0" encoding="utf-8"?>
<ds:datastoreItem xmlns:ds="http://schemas.openxmlformats.org/officeDocument/2006/customXml" ds:itemID="{DAB0EA34-4A91-48C4-87EA-031722434AD4}">
  <ds:schemaRefs/>
</ds:datastoreItem>
</file>

<file path=customXml/itemProps3.xml><?xml version="1.0" encoding="utf-8"?>
<ds:datastoreItem xmlns:ds="http://schemas.openxmlformats.org/officeDocument/2006/customXml" ds:itemID="{3F942355-4492-493E-BE67-255D002A50E1}">
  <ds:schemaRefs/>
</ds:datastoreItem>
</file>

<file path=customXml/itemProps4.xml><?xml version="1.0" encoding="utf-8"?>
<ds:datastoreItem xmlns:ds="http://schemas.openxmlformats.org/officeDocument/2006/customXml" ds:itemID="{A41842F8-F2E0-4EFB-BE11-412CE065242F}">
  <ds:schemaRefs/>
</ds:datastoreItem>
</file>

<file path=customXml/itemProps5.xml><?xml version="1.0" encoding="utf-8"?>
<ds:datastoreItem xmlns:ds="http://schemas.openxmlformats.org/officeDocument/2006/customXml" ds:itemID="{3CB56062-F3A3-4129-843E-166E3A175E61}">
  <ds:schemaRefs/>
</ds:datastoreItem>
</file>

<file path=customXml/itemProps6.xml><?xml version="1.0" encoding="utf-8"?>
<ds:datastoreItem xmlns:ds="http://schemas.openxmlformats.org/officeDocument/2006/customXml" ds:itemID="{84AEBE1B-F466-4976-B078-181A62D66D00}">
  <ds:schemaRefs/>
</ds:datastoreItem>
</file>

<file path=customXml/itemProps7.xml><?xml version="1.0" encoding="utf-8"?>
<ds:datastoreItem xmlns:ds="http://schemas.openxmlformats.org/officeDocument/2006/customXml" ds:itemID="{BCCB3612-0715-4224-8D8D-14668218ED65}">
  <ds:schemaRefs/>
</ds:datastoreItem>
</file>

<file path=customXml/itemProps8.xml><?xml version="1.0" encoding="utf-8"?>
<ds:datastoreItem xmlns:ds="http://schemas.openxmlformats.org/officeDocument/2006/customXml" ds:itemID="{5CF59F67-19FB-4DD6-A775-ADBFFC54DE1E}">
  <ds:schemaRefs>
    <ds:schemaRef ds:uri="http://schemas.microsoft.com/office/2006/metadata/properties"/>
    <ds:schemaRef ds:uri="http://schemas.microsoft.com/office/infopath/2007/PartnerControls"/>
    <ds:schemaRef ds:uri="1ce47b7b-b44b-4ad1-bb2e-64bf40f5dd4c"/>
    <ds:schemaRef ds:uri="07ffe34e-605b-4240-9ab2-c2dd32a7939f"/>
  </ds:schemaRefs>
</ds:datastoreItem>
</file>

<file path=customXml/itemProps9.xml><?xml version="1.0" encoding="utf-8"?>
<ds:datastoreItem xmlns:ds="http://schemas.openxmlformats.org/officeDocument/2006/customXml" ds:itemID="{E7387CCF-A3A9-4193-93D0-CA3A0186143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stseller presentation start</Template>
  <TotalTime>1466</TotalTime>
  <Words>96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delle BS Office</vt:lpstr>
      <vt:lpstr>Verdana</vt:lpstr>
      <vt:lpstr>struktureretsundfornuft-dk</vt:lpstr>
      <vt:lpstr>think-cell Slide</vt:lpstr>
      <vt:lpstr>[ Agendapunkt – skriv navn som overskrift  - DA ]</vt:lpstr>
    </vt:vector>
  </TitlesOfParts>
  <Company>BESTSELL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Toft Clausen</dc:creator>
  <cp:lastModifiedBy>Dann Bleeker Pedersen</cp:lastModifiedBy>
  <cp:revision>21</cp:revision>
  <dcterms:created xsi:type="dcterms:W3CDTF">2026-03-26T16:26:58Z</dcterms:created>
  <dcterms:modified xsi:type="dcterms:W3CDTF">2026-07-13T18:4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E58A8C23720A424799D02E0B0DFE4B7D</vt:lpwstr>
  </property>
  <property fmtid="{D5CDD505-2E9C-101B-9397-08002B2CF9AE}" pid="4" name="TemplafyTimeStamp">
    <vt:lpwstr>2025-05-09T09:57:14</vt:lpwstr>
  </property>
  <property fmtid="{D5CDD505-2E9C-101B-9397-08002B2CF9AE}" pid="5" name="TemplafyTenantId">
    <vt:lpwstr>bestseller</vt:lpwstr>
  </property>
  <property fmtid="{D5CDD505-2E9C-101B-9397-08002B2CF9AE}" pid="6" name="TemplafyTemplateId">
    <vt:lpwstr>1179616488094958582</vt:lpwstr>
  </property>
  <property fmtid="{D5CDD505-2E9C-101B-9397-08002B2CF9AE}" pid="7" name="TemplafyUserProfileId">
    <vt:lpwstr>1172882005027457304</vt:lpwstr>
  </property>
  <property fmtid="{D5CDD505-2E9C-101B-9397-08002B2CF9AE}" pid="8" name="TemplafyLanguageCode">
    <vt:lpwstr>en-GB</vt:lpwstr>
  </property>
  <property fmtid="{D5CDD505-2E9C-101B-9397-08002B2CF9AE}" pid="9" name="TemplafyFromBlank">
    <vt:bool>true</vt:bool>
  </property>
</Properties>
</file>